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99"/>
  </p:notesMasterIdLst>
  <p:handoutMasterIdLst>
    <p:handoutMasterId r:id="rId100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46" r:id="rId66"/>
    <p:sldId id="338" r:id="rId67"/>
    <p:sldId id="349" r:id="rId68"/>
    <p:sldId id="334" r:id="rId69"/>
    <p:sldId id="336" r:id="rId70"/>
    <p:sldId id="337" r:id="rId71"/>
    <p:sldId id="309" r:id="rId72"/>
    <p:sldId id="350" r:id="rId73"/>
    <p:sldId id="341" r:id="rId74"/>
    <p:sldId id="351" r:id="rId75"/>
    <p:sldId id="357" r:id="rId76"/>
    <p:sldId id="358" r:id="rId77"/>
    <p:sldId id="354" r:id="rId78"/>
    <p:sldId id="353" r:id="rId79"/>
    <p:sldId id="355" r:id="rId80"/>
    <p:sldId id="359" r:id="rId81"/>
    <p:sldId id="360" r:id="rId82"/>
    <p:sldId id="361" r:id="rId83"/>
    <p:sldId id="362" r:id="rId84"/>
    <p:sldId id="365" r:id="rId85"/>
    <p:sldId id="370" r:id="rId86"/>
    <p:sldId id="367" r:id="rId87"/>
    <p:sldId id="371" r:id="rId88"/>
    <p:sldId id="368" r:id="rId89"/>
    <p:sldId id="369" r:id="rId90"/>
    <p:sldId id="366" r:id="rId91"/>
    <p:sldId id="339" r:id="rId92"/>
    <p:sldId id="281" r:id="rId93"/>
    <p:sldId id="289" r:id="rId94"/>
    <p:sldId id="347" r:id="rId95"/>
    <p:sldId id="348" r:id="rId96"/>
    <p:sldId id="342" r:id="rId97"/>
    <p:sldId id="356" r:id="rId9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viewProps" Target="viewProp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notesMaster" Target="notesMasters/notesMaster1.xml"/><Relationship Id="rId10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9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9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png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Gráficos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1)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Ao criar um gráfico você editar e alterar sua cor, formatação, inserir rotulo e mesmo alterar o tipo de gráfico (</a:t>
            </a:r>
            <a:r>
              <a:rPr lang="pt-BR" sz="1600" dirty="0" err="1"/>
              <a:t>Ex</a:t>
            </a:r>
            <a:r>
              <a:rPr lang="pt-BR" sz="1600" dirty="0"/>
              <a:t>: de </a:t>
            </a:r>
            <a:r>
              <a:rPr lang="pt-BR" sz="1600" dirty="0" err="1"/>
              <a:t>puizza</a:t>
            </a:r>
            <a:r>
              <a:rPr lang="pt-BR" sz="1600" dirty="0"/>
              <a:t> para Linha)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Selecionar o gráfico e clique com o botão direito do mouse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Abrir </a:t>
            </a: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Txt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Banco 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Fó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atação de Gráfico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brir Arquivo DR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selecionar o tipo de equação : Linear, Exponencial, Potenciação, etc... inclusive fazer uma projeção futura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DE TEXT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1690018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ermitem extrair e combinar textos  que estão dentro das células ao invés de texto separados em cada coluna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DIREITA = 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SQUERDA =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None/>
            </a:pPr>
            <a:r>
              <a:rPr lang="pt-BR" sz="1800" dirty="0"/>
              <a:t>EXT.TEXTO = retorna x caracteres a partir de qualquer posição que eu informar (sentido direita esquerda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40824" y="4173967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7 caracteres começando pela direit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3624"/>
            <a:ext cx="7040824" cy="184626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7040824" y="4543299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4 caracteres começando pela esquerd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40824" y="4928788"/>
            <a:ext cx="482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 partir da 6ª posição Extrai 8 caracteres</a:t>
            </a:r>
          </a:p>
        </p:txBody>
      </p:sp>
    </p:spTree>
    <p:extLst>
      <p:ext uri="{BB962C8B-B14F-4D97-AF65-F5344CB8AC3E}">
        <p14:creationId xmlns:p14="http://schemas.microsoft.com/office/powerpoint/2010/main" val="374098308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 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Gráfico de Pizza para saber qual fatia pertence a cada ESTADO. Insira  </a:t>
            </a:r>
            <a:r>
              <a:rPr lang="pt-BR" sz="1800" dirty="0" err="1"/>
              <a:t>Rotulos</a:t>
            </a:r>
            <a:r>
              <a:rPr lang="pt-BR" sz="1800" dirty="0"/>
              <a:t> de valores 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/>
              <a:t>Grafico</a:t>
            </a:r>
            <a:r>
              <a:rPr lang="pt-BR" sz="1800" dirty="0"/>
              <a:t> DE COLUNAS para Comparar ENTRE VENDEDORES insira rótulos com valore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3 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tilize o relatório de Vendas para mostrar graficamente durante todos o período, 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 Como é representado graficamente as vendas por Fornecedor ( represente com gráfico de 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arquivo Fornecedores.txt</a:t>
            </a:r>
            <a:r>
              <a:rPr lang="pt-BR" sz="1800" dirty="0">
                <a:latin typeface="Corbel" panose="020B0503020204020204" pitchFamily="34" charset="0"/>
              </a:rPr>
              <a:t>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De para </a:t>
            </a:r>
            <a:r>
              <a:rPr lang="pt-BR" sz="1800" dirty="0" err="1">
                <a:highlight>
                  <a:srgbClr val="FFFF00"/>
                </a:highlight>
                <a:latin typeface="Corbel" panose="020B0503020204020204" pitchFamily="34" charset="0"/>
              </a:rPr>
              <a:t>CCusto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Silvio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relatório de Gasto total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,</a:t>
            </a:r>
            <a:r>
              <a:rPr lang="pt-BR" sz="1800" dirty="0" err="1">
                <a:latin typeface="Corbel" panose="020B0503020204020204" pitchFamily="34" charset="0"/>
              </a:rPr>
              <a:t>PROCV,Texto</a:t>
            </a:r>
            <a:r>
              <a:rPr lang="pt-BR" sz="1800" dirty="0">
                <a:latin typeface="Corbel" panose="020B0503020204020204" pitchFamily="34" charset="0"/>
              </a:rPr>
              <a:t> para Coluna, FILTRO, Classificação, formula banco de dados (SOMASE, CONT.SE, MÉDIASE) </a:t>
            </a:r>
            <a:r>
              <a:rPr lang="pt-BR" sz="1800" dirty="0" err="1">
                <a:latin typeface="Corbel" panose="020B0503020204020204" pitchFamily="34" charset="0"/>
              </a:rPr>
              <a:t>Graficos</a:t>
            </a:r>
            <a:r>
              <a:rPr lang="pt-BR" sz="1800" dirty="0">
                <a:latin typeface="Corbel" panose="020B0503020204020204" pitchFamily="34" charset="0"/>
              </a:rPr>
              <a:t> , 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5757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lista personalizada permite todos os benefícios que já vimos sobre a facilidade com alça de preenchimento e classificação similar ao comportamento com dias da semana e meses do ano ou números sequenci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ara criar sua lista personalizadas, selecione a lista personalizada desejada e vá no caminho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5293347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Banco de dados a pagar está contido no arquivo </a:t>
            </a:r>
            <a:r>
              <a:rPr lang="pt-BR" sz="1800" b="1" u="sng" dirty="0"/>
              <a:t>Priorização de Pagamentos</a:t>
            </a:r>
            <a:r>
              <a:rPr lang="pt-BR" sz="1800" dirty="0"/>
              <a:t>.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AFIO: tente maximizar a quantidade de Notas/Registro que serão pagos: ou seja,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 - Pago poucas notas de alto valor ou muitas de pouco valor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ica: Formulas de Texto, </a:t>
            </a:r>
            <a:r>
              <a:rPr lang="pt-BR" sz="1800" dirty="0" err="1"/>
              <a:t>Procv</a:t>
            </a:r>
            <a:r>
              <a:rPr lang="pt-BR" sz="1800" dirty="0"/>
              <a:t>, Classificação, soma, lista personalizad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ões SE possibilitam que você faça comparações lógicas entre condições. Uma 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EX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Se minha nota é maior do que a Nota de corte, passei de ano, senão fico de recuperação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71" y="4927954"/>
            <a:ext cx="9531051" cy="934964"/>
          </a:xfrm>
          <a:prstGeom prst="rect">
            <a:avLst/>
          </a:prstGeom>
        </p:spPr>
      </p:pic>
      <p:sp>
        <p:nvSpPr>
          <p:cNvPr id="3" name="Elipse 2"/>
          <p:cNvSpPr/>
          <p:nvPr/>
        </p:nvSpPr>
        <p:spPr>
          <a:xfrm>
            <a:off x="2226833" y="1032734"/>
            <a:ext cx="1484555" cy="88106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804466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Gráfico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Tendência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Fórmulas de Banco de Dados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Somase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, Cont.se,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médiase</a:t>
            </a:r>
            <a:endParaRPr lang="pt-BR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Colar especial valores</a:t>
            </a:r>
            <a:endParaRPr lang="pt-BR" sz="20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Texto: </a:t>
            </a:r>
            <a:r>
              <a:rPr lang="pt-BR" sz="2000" dirty="0" smtClean="0"/>
              <a:t>Concatenar, Direita, Esquerda, </a:t>
            </a:r>
            <a:r>
              <a:rPr lang="pt-BR" sz="2000" dirty="0" err="1" smtClean="0"/>
              <a:t>Ext.Texto</a:t>
            </a:r>
            <a:r>
              <a:rPr lang="pt-BR" sz="2000" dirty="0"/>
              <a:t> </a:t>
            </a:r>
            <a:r>
              <a:rPr lang="pt-BR" sz="2000" dirty="0" smtClean="0"/>
              <a:t>= Meio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Eliminar Duplicat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Personalizad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 SE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08822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 FUNÇÃO </a:t>
            </a: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741817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Um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70" y="5414062"/>
            <a:ext cx="9531051" cy="934964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670" y="2098157"/>
            <a:ext cx="5146941" cy="2739646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57611" y="2382592"/>
            <a:ext cx="57496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este Logico=&gt; Onde afirmo a minha </a:t>
            </a:r>
            <a:r>
              <a:rPr lang="pt-BR" dirty="0" err="1" smtClean="0"/>
              <a:t>Hipotese</a:t>
            </a:r>
            <a:r>
              <a:rPr lang="pt-BR" dirty="0" smtClean="0"/>
              <a:t>: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Minha Nota É Maior do que a nota de Corte</a:t>
            </a:r>
          </a:p>
          <a:p>
            <a:endParaRPr lang="pt-BR" dirty="0"/>
          </a:p>
          <a:p>
            <a:r>
              <a:rPr lang="pt-BR" dirty="0" smtClean="0"/>
              <a:t>Se Verdadeiro: Ação caso minha hipótese seja verdadeira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Escrever ”Passei de Ano”</a:t>
            </a:r>
          </a:p>
          <a:p>
            <a:endParaRPr lang="pt-BR" dirty="0"/>
          </a:p>
          <a:p>
            <a:r>
              <a:rPr lang="pt-BR" dirty="0" smtClean="0"/>
              <a:t>Se falso: Ação caso minha </a:t>
            </a:r>
            <a:r>
              <a:rPr lang="pt-BR" dirty="0" err="1" smtClean="0"/>
              <a:t>hipotese</a:t>
            </a:r>
            <a:r>
              <a:rPr lang="pt-BR" dirty="0" smtClean="0"/>
              <a:t> seja falsa.</a:t>
            </a:r>
          </a:p>
          <a:p>
            <a:r>
              <a:rPr lang="pt-BR" dirty="0"/>
              <a:t>	</a:t>
            </a:r>
            <a:r>
              <a:rPr lang="pt-BR" dirty="0" smtClean="0"/>
              <a:t>EX: Escrever “Fico de recuperação”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02236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“</a:t>
            </a:r>
            <a:r>
              <a:rPr lang="pt-BR" sz="1800" dirty="0" err="1"/>
              <a:t>exercicios</a:t>
            </a:r>
            <a:r>
              <a:rPr lang="pt-BR" sz="1800" dirty="0"/>
              <a:t> se”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59583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Tabela de Vendedore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Refaça o calculo de comissionamento de vendas de modo que seja possível simular rapidamente qual o gasto com comissão caso sejam alteradas as opções do tipo de comissionament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51721281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s Aninhadas e Auditoria de Formula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b="1" u="sng" dirty="0">
                <a:highlight>
                  <a:srgbClr val="FFFF00"/>
                </a:highlight>
              </a:rPr>
              <a:t>Funções aninhadas: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O </a:t>
            </a:r>
            <a:r>
              <a:rPr lang="pt-BR" sz="1600" dirty="0"/>
              <a:t>Excel utiliza o resultado de uma função como argumento de outra fun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Vantagem</a:t>
            </a:r>
            <a:r>
              <a:rPr lang="pt-BR" sz="1600" dirty="0"/>
              <a:t>: Economia de Espaço, tempo, memoria, layout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/>
              <a:t>Desvantagem: complexidade em rastrear e montar logica</a:t>
            </a:r>
            <a:r>
              <a:rPr lang="pt-BR" sz="1600" dirty="0" smtClean="0"/>
              <a:t>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b="1" u="sng" dirty="0">
                <a:highlight>
                  <a:srgbClr val="FFFF00"/>
                </a:highlight>
              </a:rPr>
              <a:t>Auditoria de Formul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Consegue rastear erros e avaliar passo a passo o resultado de formulas. Muito útil para formulas complexas e aninhad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Caminho: Guia formulas, Grupo Auditoria de Formulas, Comando Verificação de Erros (somente se formula trouxer erros) ou Avaliar formula (mostra etapas da formula)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6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2786" y="4518211"/>
            <a:ext cx="3960833" cy="2118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3346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7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Você </a:t>
            </a:r>
            <a:r>
              <a:rPr lang="pt-BR" sz="1800" dirty="0"/>
              <a:t>consegue refazer o </a:t>
            </a:r>
            <a:r>
              <a:rPr lang="pt-BR" sz="1800" dirty="0" smtClean="0"/>
              <a:t>Exercício anterior (calcular comissão) usando apenas </a:t>
            </a:r>
            <a:r>
              <a:rPr lang="pt-BR" sz="1800" dirty="0"/>
              <a:t>1 Coluna</a:t>
            </a:r>
            <a:r>
              <a:rPr lang="pt-BR" sz="1800" dirty="0" smtClean="0"/>
              <a:t>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Dica: faça separado e depois junte tudo em uma única formula usando SE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Multiplicação, </a:t>
            </a:r>
            <a:r>
              <a:rPr lang="pt-BR" sz="1800" dirty="0" err="1" smtClean="0"/>
              <a:t>Procv</a:t>
            </a:r>
            <a:r>
              <a:rPr lang="pt-BR" sz="1800" dirty="0" smtClean="0"/>
              <a:t>, Se, ...auditor de formulas se </a:t>
            </a:r>
            <a:r>
              <a:rPr lang="pt-BR" sz="1800" dirty="0" err="1" smtClean="0"/>
              <a:t>necessario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16660360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tervalos Nomead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Permite você deixar um intervalos de células “</a:t>
            </a:r>
            <a:r>
              <a:rPr lang="pt-BR" sz="1800" dirty="0" err="1" smtClean="0"/>
              <a:t>Pre-definido</a:t>
            </a:r>
            <a:r>
              <a:rPr lang="pt-BR" sz="1800" dirty="0" smtClean="0"/>
              <a:t>” para agilizar o uso de formulas e sele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Como nome definido do intervalo, basta apenas utiliza-lo ao invés de selecionar as célul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Caminho: Com o intervalo selecionado, Guia formulas, grupo Nomes Definidos , Gerenciador de Nomes e NOVO ou Digitar o nome do intervalo na caixa de  “Endereço da </a:t>
            </a:r>
            <a:r>
              <a:rPr lang="pt-BR" sz="1800" dirty="0" err="1" smtClean="0"/>
              <a:t>Celula</a:t>
            </a:r>
            <a:r>
              <a:rPr lang="pt-BR" sz="1800" dirty="0" smtClean="0"/>
              <a:t>”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244" y="3805517"/>
            <a:ext cx="3536128" cy="2767405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7681" y="3805517"/>
            <a:ext cx="2371725" cy="1085850"/>
          </a:xfrm>
          <a:prstGeom prst="rect">
            <a:avLst/>
          </a:prstGeom>
        </p:spPr>
      </p:pic>
      <p:sp>
        <p:nvSpPr>
          <p:cNvPr id="4" name="Texto Explicativo Retangular 3"/>
          <p:cNvSpPr/>
          <p:nvPr/>
        </p:nvSpPr>
        <p:spPr>
          <a:xfrm>
            <a:off x="5239869" y="5023821"/>
            <a:ext cx="1623509" cy="527125"/>
          </a:xfrm>
          <a:prstGeom prst="wedgeRectCallout">
            <a:avLst>
              <a:gd name="adj1" fmla="val -30119"/>
              <a:gd name="adj2" fmla="val -2293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Digite o Nome do intervalo nesta Caixa onde esta J10. EX: Vendas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395918375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o Total de IMPOSTO a pagar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intervalos nomeados para poder refazer cálculos sem alterar as formulas já feitas (manutenção somente na tabela de Imposto)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err="1" smtClean="0"/>
              <a:t>OBS</a:t>
            </a:r>
            <a:r>
              <a:rPr lang="pt-BR" sz="1800" dirty="0" smtClean="0"/>
              <a:t>: Estado de Espirito SANTO possui ICMS de 17% e PIS/COFINS de 9,25%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400651964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ABELA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O Comando Tabelas no Excel permite trabalhar listas com comportamento de BANCO de dados: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OS dados passam a trabalhar isolados em cada tabela permitind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Filtros independentes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Acrescimento automático ao intervalo NOMEADO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Formatação rápida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Função aritmética rápida como subtotal (na ultima linha pressionar </a:t>
            </a:r>
            <a:r>
              <a:rPr lang="pt-BR" sz="1800" dirty="0" err="1" smtClean="0"/>
              <a:t>Alt</a:t>
            </a:r>
            <a:r>
              <a:rPr lang="pt-BR" sz="1800" dirty="0" smtClean="0"/>
              <a:t> + =)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Caminh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Guia Inserir, Grupo Tabelas, comando tabela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Para tornar uma tabela em intervalo regular, clique com o botão direito na tabela , no menu clique em tabela e depois em converter  em intervalo.</a:t>
            </a:r>
          </a:p>
          <a:p>
            <a:pPr algn="just">
              <a:lnSpc>
                <a:spcPct val="150000"/>
              </a:lnSpc>
              <a:buFontTx/>
              <a:buChar char="-"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61834736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ABELA DINAMICA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520849" y="977879"/>
            <a:ext cx="10896600" cy="23032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m dos comandos mais completos do EXCEL. Com </a:t>
            </a:r>
            <a:r>
              <a:rPr lang="pt-BR" sz="1800" dirty="0"/>
              <a:t>tabelas dinâmicas podemos criar </a:t>
            </a:r>
            <a:r>
              <a:rPr lang="pt-BR" sz="1800" dirty="0" smtClean="0"/>
              <a:t>resumos </a:t>
            </a:r>
            <a:r>
              <a:rPr lang="pt-BR" sz="1800" dirty="0"/>
              <a:t>de uma lista </a:t>
            </a:r>
            <a:r>
              <a:rPr lang="pt-BR" sz="1800" dirty="0" smtClean="0"/>
              <a:t>ou </a:t>
            </a:r>
            <a:r>
              <a:rPr lang="pt-BR" sz="1800" dirty="0"/>
              <a:t>de uma base de dados externa. As tabelas dinâmicas permitem cruzar dados, resumindo dados de registos em dois ou mais caminhos combinando valores de diferentes campos. 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Caminh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Guia Inserir, Grupo Tabelas, comando tabela dinâmica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9084" y="3141233"/>
            <a:ext cx="3538364" cy="302289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2291377" y="3387592"/>
            <a:ext cx="43783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aseado em uma Lista no Excel</a:t>
            </a:r>
            <a:endParaRPr lang="pt-BR" dirty="0"/>
          </a:p>
        </p:txBody>
      </p:sp>
      <p:sp>
        <p:nvSpPr>
          <p:cNvPr id="7" name="CaixaDeTexto 6"/>
          <p:cNvSpPr txBox="1"/>
          <p:nvPr/>
        </p:nvSpPr>
        <p:spPr>
          <a:xfrm>
            <a:off x="2073089" y="4048100"/>
            <a:ext cx="59059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aseado em um Arquivo Externo (</a:t>
            </a:r>
            <a:r>
              <a:rPr lang="pt-BR" dirty="0" err="1" smtClean="0"/>
              <a:t>ex</a:t>
            </a:r>
            <a:r>
              <a:rPr lang="pt-BR" dirty="0" smtClean="0"/>
              <a:t>: arquivo </a:t>
            </a:r>
            <a:r>
              <a:rPr lang="pt-BR" dirty="0" err="1" smtClean="0"/>
              <a:t>txt</a:t>
            </a:r>
            <a:r>
              <a:rPr lang="pt-BR" dirty="0" smtClean="0"/>
              <a:t>)</a:t>
            </a:r>
            <a:endParaRPr lang="pt-BR" dirty="0"/>
          </a:p>
        </p:txBody>
      </p:sp>
      <p:cxnSp>
        <p:nvCxnSpPr>
          <p:cNvPr id="9" name="Conector de Seta Reta 8"/>
          <p:cNvCxnSpPr/>
          <p:nvPr/>
        </p:nvCxnSpPr>
        <p:spPr>
          <a:xfrm flipH="1" flipV="1">
            <a:off x="5626249" y="3664590"/>
            <a:ext cx="2829262" cy="9233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" name="Conector de Seta Reta 10"/>
          <p:cNvCxnSpPr/>
          <p:nvPr/>
        </p:nvCxnSpPr>
        <p:spPr>
          <a:xfrm flipH="1">
            <a:off x="6962666" y="4140432"/>
            <a:ext cx="1492845" cy="923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791708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ABELA DINAMICA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520849" y="977879"/>
            <a:ext cx="10896600" cy="23032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A construção de Layout é feita Clicando e arrastando os nomes para as áreas abaixo(Filtro, Coluna, Linhas ou Valores). De acordo com o campo, a informação terá um comportamento: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10" name="Campos de Tabela Dinâmica 2">
            <a:extLst>
              <a:ext uri="{FF2B5EF4-FFF2-40B4-BE49-F238E27FC236}">
                <a16:creationId xmlns:a16="http://schemas.microsoft.com/office/drawing/2014/main" id="{00000000-0008-0000-0E00-000007000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05529" y="1965680"/>
            <a:ext cx="2447925" cy="4651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3"/>
          <a:srcRect r="11184"/>
          <a:stretch/>
        </p:blipFill>
        <p:spPr>
          <a:xfrm>
            <a:off x="5024579" y="2129480"/>
            <a:ext cx="6260193" cy="21717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1609" y="4364037"/>
            <a:ext cx="5422862" cy="217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14576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TOTAIS DE VENDA e QTD de NF`S(registros) por: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F x </a:t>
            </a:r>
            <a:r>
              <a:rPr lang="pt-BR" sz="1800" u="sng" dirty="0" smtClean="0"/>
              <a:t>SEGMENT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VENDEDOR x </a:t>
            </a:r>
            <a:r>
              <a:rPr lang="pt-BR" sz="1800" u="sng" dirty="0" smtClean="0"/>
              <a:t>PERÍOD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SEGMENTO x UF x </a:t>
            </a:r>
            <a:r>
              <a:rPr lang="pt-BR" sz="1800" u="sng" dirty="0"/>
              <a:t>CATEGORIA</a:t>
            </a:r>
            <a:r>
              <a:rPr lang="pt-BR" sz="1800" dirty="0"/>
              <a:t> 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err="1" smtClean="0"/>
              <a:t>Obs</a:t>
            </a:r>
            <a:r>
              <a:rPr lang="pt-BR" sz="1800" dirty="0" smtClean="0"/>
              <a:t>: O que esta sublinhado insira como COLUNA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Depois faça um relatório que demonstre a participação% nas mesmas visões: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/>
              <a:t>UF x SEGMENT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/>
              <a:t>EVOLUÇÃO DE VENDEDOR POR PERIOD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/>
              <a:t>CATEGORIA x SEGMENTO x </a:t>
            </a:r>
            <a:r>
              <a:rPr lang="pt-BR" sz="1800" dirty="0" smtClean="0"/>
              <a:t>UF</a:t>
            </a:r>
            <a:endParaRPr lang="pt-BR" sz="1800" dirty="0"/>
          </a:p>
        </p:txBody>
      </p:sp>
      <p:sp>
        <p:nvSpPr>
          <p:cNvPr id="4" name="Elipse 3"/>
          <p:cNvSpPr/>
          <p:nvPr/>
        </p:nvSpPr>
        <p:spPr>
          <a:xfrm>
            <a:off x="2226833" y="1032734"/>
            <a:ext cx="1484555" cy="88106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5772731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Formula SE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órmulas Aninhad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Auditor de Fórmul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Intervalo Nomeado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Tabela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Tabela Dinâmica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258822952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 CONTINUAÇA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TOTAIS DE VENDA e %PARTICIPAÇÂO por vendas (no mesmo relatório)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VENDEDOR x SEGMENTO x </a:t>
            </a:r>
            <a:r>
              <a:rPr lang="pt-BR" sz="1800" u="sng" dirty="0" smtClean="0"/>
              <a:t>CATEGORIA</a:t>
            </a:r>
            <a:r>
              <a:rPr lang="pt-BR" sz="1800" dirty="0" smtClean="0"/>
              <a:t>  com filtro por UF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99972520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 CONCILIAÇÃ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ma empresa envia diariamente seus arquivos de recebimento de vendas para o banco. Entretanto desde a implementação do novo sistema de ERP os arquivos de retorno do Banco, e consequentemente os recebimentos, estão apresentado diferenças gerando problemas no Contábil x Financeiro. Para solucionar isto, o  departamento de TI gerou dois bancos de dados: 1 o arquivo de envio ao banco e o outro o Retorno daquilo que foi pago pelo cliente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Você precisa identificar a passar para TI a separação das transação que estão “divergentes”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1)Planilha em que existe retorno do banco mas nunca foi pedido para cobrar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2)Cobranças sem retorno do banc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3) Mesmas </a:t>
            </a:r>
            <a:r>
              <a:rPr lang="pt-BR" sz="1800" dirty="0" err="1" smtClean="0"/>
              <a:t>ID´s</a:t>
            </a:r>
            <a:r>
              <a:rPr lang="pt-BR" sz="1800" dirty="0" smtClean="0"/>
              <a:t> de cobranças mas com valores diferentes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OS: o ID da transação é o valor ÚNICO referente à ordem de Cobrança (use-o como referencia)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Qual  %do montante em valor que esta Descasado? E em numero de registros </a:t>
            </a:r>
            <a:r>
              <a:rPr lang="pt-BR" sz="1800" dirty="0" err="1" smtClean="0"/>
              <a:t>ID’s</a:t>
            </a:r>
            <a:r>
              <a:rPr lang="pt-BR" sz="1800" dirty="0" smtClean="0"/>
              <a:t>?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3822760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42572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Criativ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or ser uma ferramenta de imagem, os Gráficos te permitem criar além do Excel interagindo com outros elementos tais como Figura, core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Um ótimo Exemplo é integrar os gráficos com elementos gráficos ou mesmo tornar o gráfico um figura “</a:t>
            </a:r>
            <a:r>
              <a:rPr lang="pt-BR" sz="1800" dirty="0" err="1"/>
              <a:t>jpeg</a:t>
            </a:r>
            <a:r>
              <a:rPr lang="pt-BR" sz="1800" dirty="0"/>
              <a:t>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Para inserir uma figura no Excel: Guia Inserir &gt; Ilustrações &gt; Imagens &gt; Procurar figura e clicar inseri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para formatação avançada de gráfico e figuras (somente funciona quando gráfico ou figura esta selecionado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Guia “Ferramentas de Imagem” (aba menu Superior)  &gt; Guia Forma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285305447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ashBoard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883788408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11171493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5 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 err="1"/>
              <a:t>Disponivel</a:t>
            </a:r>
            <a:r>
              <a:rPr lang="pt-BR" sz="3600" dirty="0"/>
              <a:t>  na Pasta Carreteiros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3163384" y="2839188"/>
            <a:ext cx="11171493" cy="1179624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RETORNAMOS AS 13:15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824637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43</TotalTime>
  <Words>6684</Words>
  <Application>Microsoft Office PowerPoint</Application>
  <PresentationFormat>Widescreen</PresentationFormat>
  <Paragraphs>889</Paragraphs>
  <Slides>97</Slides>
  <Notes>0</Notes>
  <HiddenSlides>8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7</vt:i4>
      </vt:variant>
    </vt:vector>
  </HeadingPairs>
  <TitlesOfParts>
    <vt:vector size="104" baseType="lpstr">
      <vt:lpstr>Arial</vt:lpstr>
      <vt:lpstr>Calibri</vt:lpstr>
      <vt:lpstr>Corbel</vt:lpstr>
      <vt:lpstr>Segoe UI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433</cp:revision>
  <dcterms:created xsi:type="dcterms:W3CDTF">2018-08-19T15:50:37Z</dcterms:created>
  <dcterms:modified xsi:type="dcterms:W3CDTF">2018-12-19T15:36:17Z</dcterms:modified>
</cp:coreProperties>
</file>